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17"/>
  </p:notesMasterIdLst>
  <p:handoutMasterIdLst>
    <p:handoutMasterId r:id="rId18"/>
  </p:handoutMasterIdLst>
  <p:sldIdLst>
    <p:sldId id="266" r:id="rId3"/>
    <p:sldId id="274" r:id="rId4"/>
    <p:sldId id="275" r:id="rId5"/>
    <p:sldId id="278" r:id="rId6"/>
    <p:sldId id="279" r:id="rId7"/>
    <p:sldId id="282" r:id="rId8"/>
    <p:sldId id="273" r:id="rId9"/>
    <p:sldId id="263" r:id="rId10"/>
    <p:sldId id="261" r:id="rId11"/>
    <p:sldId id="283" r:id="rId12"/>
    <p:sldId id="284" r:id="rId13"/>
    <p:sldId id="285" r:id="rId14"/>
    <p:sldId id="286" r:id="rId15"/>
    <p:sldId id="27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8DC3"/>
    <a:srgbClr val="FE1003"/>
    <a:srgbClr val="FE875D"/>
    <a:srgbClr val="36638D"/>
    <a:srgbClr val="ABD1DE"/>
    <a:srgbClr val="3A38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74" y="102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4" d="100"/>
          <a:sy n="54" d="100"/>
        </p:scale>
        <p:origin x="200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23FF5DA-F7E4-C1B3-15BB-D85CE5D9DC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47BE20-8D46-CE19-B15A-148F9396E1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A4390B-C798-4C41-8DB7-88CA4764DDED}" type="datetimeFigureOut">
              <a:rPr lang="en-ID" smtClean="0"/>
              <a:t>16/11/20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D92FDF-A45E-960B-71B3-F4168FE1E6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E60D0-6FD5-2A39-C36A-FC08096F70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37AF11-04C9-4E46-8C2B-BB248E06E38D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70920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08DE9F-1FA1-4BA3-9F54-8442D0E6863A}" type="datetimeFigureOut">
              <a:rPr lang="en-ID" smtClean="0"/>
              <a:t>16/11/2023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672D5-475D-42A0-A31A-C9AB176F60B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5049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vladdeep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-insurance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johnschno?utm_source=unsplash&amp;utm_medium=referral&amp;utm_content=creditCopyText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ar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Vlad Deep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656637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ohn </a:t>
            </a:r>
            <a:r>
              <a:rPr lang="en-US" dirty="0" err="1">
                <a:hlinkClick r:id="rId3"/>
              </a:rPr>
              <a:t>Schnobrich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53403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89922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62326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086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splash.com/photos/zI_R7sUQVF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6732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63868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69350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175186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https://unsplash.com/photos/bEGTsOCnH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F672D5-475D-42A0-A31A-C9AB176F60BE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28045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7F229-BDD9-AAE4-8814-196D8E1945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AE1767-1EED-7A5A-FEF0-3758EFC151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FAFE49-09F8-9199-9D31-BAE5C6074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9902362-B1F6-4126-9164-8FFFCDDE087F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95EC2F-CE23-E2FE-EC1A-34A3DC917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081EDF-FD45-21C2-E8F3-0A489E49A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13732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0C032-C873-B8B0-AE1A-46DF50AFF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70F14A-EF2A-9144-C724-2FCA75DD4D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D6472-8100-8093-8096-5A0FB7D529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002CAEB-212B-4012-8FE2-35F2200259FA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00FFC-F65D-352B-4E59-B0B3C75DC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395D6-ADB1-2745-527E-E2214F1F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31735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7B5D93-3BC7-83B4-3234-2397586C50E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E8E95C-032A-4360-03BE-18D1A02607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3DA4B7-96E7-E23D-AB1C-9FFA40D7AB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E8A46E5-6438-4C73-B33A-31614A440AAC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3FF1FC-883B-8227-22CE-B1BE81DE7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60E43F-68D7-432C-AEE2-EA325997F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243173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32A25-0BC4-4367-800E-88BFCA0145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D0E4FA-6BC4-4556-AA14-DEB0146213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169B0F-7EC4-4DA2-8ED1-6337F83EEA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BE6EBD-3D92-48B5-80DF-9F676EFF1E37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09CB5-3D1B-4FFB-9CA5-E956DA26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B03816-1879-45E9-822D-85E2AD7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2863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5085E5-3B49-4DC6-A6A9-AD47CEE87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39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55085E5-3B49-4DC6-A6A9-AD47CEE87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D78F2DC-0703-47F2-9D0B-0971015D2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835025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7F0E3C-330D-4D84-9310-7161F953A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50" y="1356852"/>
            <a:ext cx="11417300" cy="48201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8AF1B-9CDC-40BE-9A38-2428C7E18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432628-EF5B-4B61-B7F5-354742DEC757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3B13B-4FD4-4439-B284-D5FEDBBA4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EC018-797C-48C5-A3AF-DE3788B9D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993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980D2-C022-459E-A1F1-87941AA58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3E93C-D9EC-4D6A-893F-F9844785F7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B125F9-7FB0-4D24-8F71-11CA96ED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80C5E3C-CD66-4595-9980-7FDC40CDB592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7FD5B-8E8B-493B-B109-84FDAA6F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D5182-C9EA-499D-9300-A5EBD215C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441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D5CA62-5EBB-4C0A-B3D7-C7967E091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E9E1-24C5-4DAC-8EB4-9C46DDC8C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7FE3EA-0946-43A4-ADDD-B62FB5521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9DD65F-A052-4E05-8923-AA91EB3D49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5A7243D-CCAA-41F7-BD76-A3AB33194AFF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AAF469-53E3-41B5-ADF1-28FC6890E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E884C4-C36F-4D43-8B58-DB23927B8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28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84023-8FE7-47B2-B7A1-4971C4FD9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D99207-2FDF-49B9-BA7F-94E519CB1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CD0E2-AE2E-4443-8070-DDD06B04D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B5921C-733C-4CF8-AB7B-8D46D79680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6CE057-98D2-4130-AF46-E03086255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3BDBAF-3E85-4DAA-9F1E-D9C930A9D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32C02E6-9C88-4402-8682-4D20BD4D0C78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AFC847-2715-4243-8289-D800C0F86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80A1FD-7A6B-4F5B-81E9-BB3B8C7E6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994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72B28-54E4-4C99-BF0E-B33634A0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1B56EF-99A8-4B5F-9416-DAC4B3477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02EFB7-10B3-4D5D-90C8-5A95218CBFE1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708689-2A33-4836-9C59-74BB4387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5FCAC0-2122-479C-9BCE-C1CDB80F2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814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3E64D6-7065-4269-B1D3-441F25A3B0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F33B6B8-7F77-432F-B596-358BCB82D060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B30C3A-EA5E-4657-95CA-9B086221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9CBDC-D80F-47CC-B4AF-D4B76B58C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56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82F8B-0689-4E3C-961F-F117033CD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9D4227-540D-483C-B64B-DA43DAF20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4CCA32-AE3E-479E-9979-3AFBDF95AF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832154-34CE-4849-8DFE-840F63FD1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318BA9-DF83-4780-8C37-15B7475F0C8B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ADC88D-CCD6-4897-8C89-99A2AEA49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6D7FCD-B015-452F-BEA0-3FB4BC9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7000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3DA40-983C-474F-4F8C-711323A51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0A174E-E252-06E7-8758-2B376E895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D77C24-86B8-F63C-2F5E-E5742E07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26F031D-E30A-48DD-A09B-36DFCBA5DA3C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C7CD16-29C2-593C-6446-D3C91A6B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C76E0-E4EC-46F8-9A65-B5B45B0CC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09550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FF0C1-CB41-42E9-A5D3-B32D4A7CD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7D0B6-B34A-4434-9B49-42484457E8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31BC63-447A-47E5-9868-60CE07485E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0A5EE7-582A-4D1E-BDD2-F5397EA315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7FF88-08CC-403D-BC1F-9321DEAD71CD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967F00-AB59-4DC6-8AB2-23E75CB39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EF9295-41A4-4C61-96C4-760B4654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5481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47C99-D598-4AE0-896E-1C9D65B7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20C0C6-6FC8-40F8-AFA5-ADA1E44170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0E903-27DA-44D7-AEFA-9628FC7E5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BC65BB-3128-4591-9890-E4A5F700EBA6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04B9-E95B-40DE-829A-E8315FB81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06CC9-E391-4937-905B-FE4B1E752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940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3BDBA2-440A-47F4-9043-F850A08A26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607B311-5DC5-4E62-B219-DE5897D31E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C40E7F-620C-418F-84C6-30B3A156C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4D06CD-200A-434A-B7AF-3E3EA026120E}" type="datetime1">
              <a:rPr lang="en-ID" altLang="ko-KR" smtClean="0"/>
              <a:t>1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7F132-C2B3-4CEC-B9B7-8ADDDA570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83128-B7F4-4641-9062-2842F1E95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09A56-2F1D-4318-9240-BF2B90CE3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858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B15BA-FDB0-DB22-2E4B-0FD831663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14B022-3CF2-46AA-1F5F-A42C10D55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6C1F8B-8B5C-E8D6-6BEA-D9A6451E0E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0C622D2-4C20-4885-9D9B-B6FDAFCEEEA6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297496-6B03-F2D4-E13F-18851C11B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605D7B-523F-7750-2914-27472744E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19302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25777-A263-1D14-4BA2-38B834CBA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80E221-948F-0FD3-B20D-EB5104291C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CB4BAF-27C8-85A2-1BB7-ACF54DCAB1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1D1A0C-D2A5-4D28-4B46-26E1F5B77A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E0F98B-BE16-42DF-9CF7-13472AF1DB13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A61E3A-FB61-CCDA-CACC-71817C255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FB166C-0390-B6E0-0013-EFCFB1F47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46533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D7248-396C-E995-7FB4-1F174CF2E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A23D35-BC35-C3A8-43C7-12747DA0BD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F323A3-347C-672B-9287-CF5ECAB03D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B982F9-3A37-4F4F-CBD5-A8BC37D438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C3F8DC-02EB-0003-76F7-3D468BC49B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B7B369-1CF8-9730-8CB4-B7BB5A832B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E4646C8-F356-4798-8636-52122316FCEC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B50A6B-DCB9-5C99-EA2B-80B77548A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8280BC-E16F-729F-6903-AEEEA4D28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88615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614FC-F454-96E7-57F2-99F651784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49389D-C901-82E1-A58F-31F121C0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D3F4141-D5ED-4191-A035-ECBC130FC7EC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2D6E22-C3C3-EBD1-BE88-18A21E5F1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E45448-9772-8451-1F99-E4EBFBCBD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2985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85E0E3-F891-F8BB-E641-0099836C4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2B7CC8-5565-4FE5-8681-0396BAC53655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38C488-4471-269D-6840-964DFC5FE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BE83C9-CA97-4863-CF39-0B3925B35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4031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144B-C66A-D442-520A-F7861016C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1B28CC-7C85-E6CF-E80C-DC54B17F9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7D2D85-243B-C740-A132-271DF455E7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188205-BF7A-416D-DD98-3D3F13C118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B0AD6D-308F-4DFE-A742-AB34327EDDFE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3B7877-2973-3D39-ADB0-F9BE9F14F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4BF73D-1651-7D81-03E9-2AE6F9888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36397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E7CC9-DE65-1BC8-CF55-A2023C2D2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3FD31F-746B-331C-545D-DDC8B48225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920215-1E4F-57D6-82E0-FA41EA6699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15786-50D1-C77C-4D6A-9FAE397C8B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C3E278-D0C9-4B56-A58B-A4AD1CE5BBF6}" type="datetime1">
              <a:rPr lang="en-ID" altLang="ko-KR" smtClean="0"/>
              <a:t>16/11/2023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D51DE9-F4B5-E789-8853-2113C11FF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C4F15A-5D4E-5A3D-1661-1330CB8BC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72625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6C8344-BDE8-290A-1675-200D6BE26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215" y="365126"/>
            <a:ext cx="11121571" cy="8831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C27A6C-75FB-A759-49E2-B44D9CF5AC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5215" y="1480457"/>
            <a:ext cx="11121571" cy="4696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7A0EA-37C3-C374-E44B-FEFC20C76C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1358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98121-C0ED-4D12-A058-5C29F4DDA5D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7334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36638D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3F1A51-B966-4A8C-8C10-5CB0A087D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899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3F1A51-B966-4A8C-8C10-5CB0A087D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ABDB85-54EC-42B0-A183-31738D9AA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350" y="365125"/>
            <a:ext cx="11417300" cy="930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10A39E-0D2E-4EF4-BDFB-9AE2B0761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1460500"/>
            <a:ext cx="11417300" cy="4716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E0B3E9-4EA7-4871-BA28-D174C083C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662" y="6356350"/>
            <a:ext cx="407987" cy="365125"/>
          </a:xfrm>
          <a:prstGeom prst="rect">
            <a:avLst/>
          </a:prstGeom>
          <a:solidFill>
            <a:srgbClr val="0BD0D9"/>
          </a:solidFill>
          <a:effectLst>
            <a:outerShdw dist="38100" dir="10800000" algn="r" rotWithShape="0">
              <a:srgbClr val="CEDC00"/>
            </a:outerShdw>
          </a:effectLst>
        </p:spPr>
        <p:txBody>
          <a:bodyPr vert="horz" lIns="0" tIns="45720" rIns="0" bIns="45720" rtlCol="0" anchor="ctr"/>
          <a:lstStyle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3DB09A56-2F1D-4318-9240-BF2B90CE36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41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0.0.0.0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5">
            <a:extLst>
              <a:ext uri="{FF2B5EF4-FFF2-40B4-BE49-F238E27FC236}">
                <a16:creationId xmlns:a16="http://schemas.microsoft.com/office/drawing/2014/main" id="{7E52DC74-CDBE-078F-56B8-6B73E5040848}"/>
              </a:ext>
            </a:extLst>
          </p:cNvPr>
          <p:cNvSpPr/>
          <p:nvPr/>
        </p:nvSpPr>
        <p:spPr>
          <a:xfrm>
            <a:off x="-21939" y="0"/>
            <a:ext cx="4736473" cy="59091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CC6FF"/>
              </a:solidFill>
            </a:endParaRPr>
          </a:p>
        </p:txBody>
      </p:sp>
      <p:pic>
        <p:nvPicPr>
          <p:cNvPr id="14" name="Picture 13" descr="A picture containing calendar&#10;&#10;Description automatically generated">
            <a:extLst>
              <a:ext uri="{FF2B5EF4-FFF2-40B4-BE49-F238E27FC236}">
                <a16:creationId xmlns:a16="http://schemas.microsoft.com/office/drawing/2014/main" id="{89D02043-D93D-41E8-2EF7-A0D702F36C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283" t="11694" r="10477" b="14286"/>
          <a:stretch/>
        </p:blipFill>
        <p:spPr>
          <a:xfrm>
            <a:off x="0" y="0"/>
            <a:ext cx="12192000" cy="5909156"/>
          </a:xfrm>
          <a:prstGeom prst="rect">
            <a:avLst/>
          </a:prstGeom>
        </p:spPr>
      </p:pic>
      <p:sp>
        <p:nvSpPr>
          <p:cNvPr id="12" name="Rectángulo 5">
            <a:extLst>
              <a:ext uri="{FF2B5EF4-FFF2-40B4-BE49-F238E27FC236}">
                <a16:creationId xmlns:a16="http://schemas.microsoft.com/office/drawing/2014/main" id="{C584F591-8C69-1E93-610F-73D5C17038B2}"/>
              </a:ext>
            </a:extLst>
          </p:cNvPr>
          <p:cNvSpPr/>
          <p:nvPr/>
        </p:nvSpPr>
        <p:spPr>
          <a:xfrm>
            <a:off x="547687" y="0"/>
            <a:ext cx="4736473" cy="5909156"/>
          </a:xfrm>
          <a:prstGeom prst="rect">
            <a:avLst/>
          </a:prstGeom>
          <a:solidFill>
            <a:srgbClr val="264A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7CC6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A22B4-5D3F-801E-DCA8-123C6D0746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5371" y="1617663"/>
            <a:ext cx="4081916" cy="2387600"/>
          </a:xfrm>
        </p:spPr>
        <p:txBody>
          <a:bodyPr lIns="0" tIns="0" rIns="0" bIns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ID" sz="4800" dirty="0">
                <a:solidFill>
                  <a:schemeClr val="bg1"/>
                </a:solidFill>
              </a:rPr>
              <a:t>Title Page</a:t>
            </a:r>
          </a:p>
        </p:txBody>
      </p:sp>
      <p:sp>
        <p:nvSpPr>
          <p:cNvPr id="15" name="Rectangle 20">
            <a:extLst>
              <a:ext uri="{FF2B5EF4-FFF2-40B4-BE49-F238E27FC236}">
                <a16:creationId xmlns:a16="http://schemas.microsoft.com/office/drawing/2014/main" id="{797C74EE-F0ED-5B74-751F-457A7C1A967C}"/>
              </a:ext>
            </a:extLst>
          </p:cNvPr>
          <p:cNvSpPr/>
          <p:nvPr/>
        </p:nvSpPr>
        <p:spPr>
          <a:xfrm>
            <a:off x="547687" y="4533901"/>
            <a:ext cx="4736473" cy="1375256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7E25D-7DA7-2A02-2C54-34CB944F7752}"/>
              </a:ext>
            </a:extLst>
          </p:cNvPr>
          <p:cNvSpPr/>
          <p:nvPr/>
        </p:nvSpPr>
        <p:spPr>
          <a:xfrm>
            <a:off x="885371" y="4477471"/>
            <a:ext cx="978354" cy="111943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48E7D2BD-E918-4022-A1DA-C52B5ED8209F}"/>
              </a:ext>
            </a:extLst>
          </p:cNvPr>
          <p:cNvSpPr/>
          <p:nvPr/>
        </p:nvSpPr>
        <p:spPr>
          <a:xfrm>
            <a:off x="5651500" y="317500"/>
            <a:ext cx="2108200" cy="529590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E570C10B-86DE-4E12-B544-920C5CCB2D5E}"/>
              </a:ext>
            </a:extLst>
          </p:cNvPr>
          <p:cNvSpPr txBox="1">
            <a:spLocks/>
          </p:cNvSpPr>
          <p:nvPr/>
        </p:nvSpPr>
        <p:spPr>
          <a:xfrm>
            <a:off x="5831847" y="1617663"/>
            <a:ext cx="4081916" cy="238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36638D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altLang="ko-KR" sz="4800">
                <a:solidFill>
                  <a:schemeClr val="bg1"/>
                </a:solidFill>
              </a:rPr>
              <a:t>photo</a:t>
            </a:r>
            <a:endParaRPr lang="en-ID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7779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: Single Corner Rounded 74">
            <a:extLst>
              <a:ext uri="{FF2B5EF4-FFF2-40B4-BE49-F238E27FC236}">
                <a16:creationId xmlns:a16="http://schemas.microsoft.com/office/drawing/2014/main" id="{F07CB9CF-EA7F-B222-B533-324A74B822DA}"/>
              </a:ext>
            </a:extLst>
          </p:cNvPr>
          <p:cNvSpPr/>
          <p:nvPr/>
        </p:nvSpPr>
        <p:spPr>
          <a:xfrm flipH="1" flipV="1">
            <a:off x="5669280" y="0"/>
            <a:ext cx="6522720" cy="6858000"/>
          </a:xfrm>
          <a:prstGeom prst="round1Rect">
            <a:avLst>
              <a:gd name="adj" fmla="val 83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30AB9A-9571-6B19-EBE5-DF6C333F8C91}"/>
              </a:ext>
            </a:extLst>
          </p:cNvPr>
          <p:cNvSpPr/>
          <p:nvPr/>
        </p:nvSpPr>
        <p:spPr>
          <a:xfrm>
            <a:off x="6096000" y="831273"/>
            <a:ext cx="5514340" cy="522778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360363" lvl="0" indent="-360363"/>
            <a:r>
              <a:rPr lang="en-US" sz="24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 URL of Demo Site</a:t>
            </a: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r>
              <a:rPr lang="en-US" sz="24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System Architecture</a:t>
            </a: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r>
              <a:rPr lang="en-US" sz="24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Algorithm</a:t>
            </a: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endParaRPr lang="en-US" sz="2400" b="1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r>
              <a:rPr lang="en-US" sz="24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Other References</a:t>
            </a:r>
          </a:p>
          <a:p>
            <a:pPr marL="360363" lvl="0" indent="-360363"/>
            <a:endParaRPr lang="en-US" sz="24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endParaRPr lang="en-US" sz="24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60363" lvl="0" indent="-360363"/>
            <a:endParaRPr lang="en-US" sz="24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26">
            <a:extLst>
              <a:ext uri="{FF2B5EF4-FFF2-40B4-BE49-F238E27FC236}">
                <a16:creationId xmlns:a16="http://schemas.microsoft.com/office/drawing/2014/main" id="{DD956559-67D4-40C9-9ACB-EEC13DDC6732}"/>
              </a:ext>
            </a:extLst>
          </p:cNvPr>
          <p:cNvSpPr/>
          <p:nvPr/>
        </p:nvSpPr>
        <p:spPr>
          <a:xfrm>
            <a:off x="347221" y="3429000"/>
            <a:ext cx="4782722" cy="2131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defRPr/>
            </a:pPr>
            <a:r>
              <a:rPr kumimoji="0" lang="en-US" altLang="ko-KR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04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emo of your </a:t>
            </a:r>
            <a:r>
              <a:rPr lang="en-US" altLang="ko-KR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duct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468DC3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6ECCDC-0DA0-470B-BDFC-B072B6D9885C}"/>
              </a:ext>
            </a:extLst>
          </p:cNvPr>
          <p:cNvSpPr txBox="1"/>
          <p:nvPr/>
        </p:nvSpPr>
        <p:spPr>
          <a:xfrm>
            <a:off x="6460721" y="1436316"/>
            <a:ext cx="27664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altLang="ko-KR" sz="1800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http://00000.000</a:t>
            </a:r>
            <a:endParaRPr lang="en-US" altLang="ko-KR" sz="1800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70CF5F6-3D1E-401C-AAAE-9996231563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10340" y="6358758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7304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2517B8-2ECF-4560-8985-392A9728F70A}"/>
              </a:ext>
            </a:extLst>
          </p:cNvPr>
          <p:cNvSpPr txBox="1"/>
          <p:nvPr/>
        </p:nvSpPr>
        <p:spPr>
          <a:xfrm>
            <a:off x="895927" y="415636"/>
            <a:ext cx="46274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rgbClr val="FF0000"/>
                </a:solidFill>
              </a:rPr>
              <a:t>2. System Architecture</a:t>
            </a:r>
            <a:endParaRPr lang="ko-KR" altLang="en-US" sz="3600" b="1" dirty="0">
              <a:solidFill>
                <a:srgbClr val="FF0000"/>
              </a:solidFill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185DA85E-569B-49A2-8D27-32521E64DC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81549" y="6386468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8936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2517B8-2ECF-4560-8985-392A9728F70A}"/>
              </a:ext>
            </a:extLst>
          </p:cNvPr>
          <p:cNvSpPr txBox="1"/>
          <p:nvPr/>
        </p:nvSpPr>
        <p:spPr>
          <a:xfrm>
            <a:off x="895927" y="415636"/>
            <a:ext cx="46274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>
                <a:solidFill>
                  <a:srgbClr val="FF0000"/>
                </a:solidFill>
              </a:rPr>
              <a:t>3. </a:t>
            </a:r>
            <a:r>
              <a:rPr lang="en-US" altLang="ko-KR" sz="3600" b="1" dirty="0" smtClean="0">
                <a:solidFill>
                  <a:srgbClr val="FF0000"/>
                </a:solidFill>
              </a:rPr>
              <a:t>Algorithm</a:t>
            </a:r>
            <a:endParaRPr lang="ko-KR" altLang="en-US" sz="3600" b="1" dirty="0">
              <a:solidFill>
                <a:srgbClr val="FF0000"/>
              </a:solidFill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5FACD823-E684-4E4A-B9E0-64943E7421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00021" y="6386468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504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14B831D-BDE6-4E3C-BD2A-863E9B4F9A2A}"/>
              </a:ext>
            </a:extLst>
          </p:cNvPr>
          <p:cNvSpPr txBox="1"/>
          <p:nvPr/>
        </p:nvSpPr>
        <p:spPr>
          <a:xfrm>
            <a:off x="812800" y="519607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lvl="0" indent="-360363"/>
            <a:r>
              <a:rPr lang="en-US" altLang="ko-KR" sz="36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Other References</a:t>
            </a: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641BF829-4A22-4251-B0F4-122F18C219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8494" y="6404941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189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3802D-41C2-9018-3633-598D4AF75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D" dirty="0">
                <a:solidFill>
                  <a:srgbClr val="FE1003"/>
                </a:solidFill>
              </a:rPr>
              <a:t>Contact Inform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D3FB60-09D1-3E13-5A79-37A222A533B9}"/>
              </a:ext>
            </a:extLst>
          </p:cNvPr>
          <p:cNvSpPr/>
          <p:nvPr/>
        </p:nvSpPr>
        <p:spPr>
          <a:xfrm>
            <a:off x="535215" y="1613356"/>
            <a:ext cx="805795" cy="805795"/>
          </a:xfrm>
          <a:prstGeom prst="rect">
            <a:avLst/>
          </a:prstGeom>
          <a:solidFill>
            <a:srgbClr val="366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C9B760-1561-6394-2547-9A722379C23B}"/>
              </a:ext>
            </a:extLst>
          </p:cNvPr>
          <p:cNvSpPr/>
          <p:nvPr/>
        </p:nvSpPr>
        <p:spPr>
          <a:xfrm>
            <a:off x="1707957" y="1613356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</a:rPr>
              <a:t>Phone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6823C84-2D0A-75DD-BC0F-FAC1D5D9B504}"/>
              </a:ext>
            </a:extLst>
          </p:cNvPr>
          <p:cNvSpPr/>
          <p:nvPr/>
        </p:nvSpPr>
        <p:spPr>
          <a:xfrm>
            <a:off x="535215" y="3249954"/>
            <a:ext cx="805795" cy="805795"/>
          </a:xfrm>
          <a:prstGeom prst="rect">
            <a:avLst/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60CA88-E315-5C4D-DF60-0616FE371A69}"/>
              </a:ext>
            </a:extLst>
          </p:cNvPr>
          <p:cNvSpPr/>
          <p:nvPr/>
        </p:nvSpPr>
        <p:spPr>
          <a:xfrm>
            <a:off x="1707957" y="3249954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altLang="ko-KR" sz="2000" dirty="0">
                <a:latin typeface="Segoe UI" panose="020B0502040204020203" pitchFamily="34" charset="0"/>
                <a:cs typeface="Segoe UI" panose="020B0502040204020203" pitchFamily="34" charset="0"/>
              </a:rPr>
              <a:t>Email: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D7D249-9E5E-E41E-6A73-A973BCA956BC}"/>
              </a:ext>
            </a:extLst>
          </p:cNvPr>
          <p:cNvSpPr/>
          <p:nvPr/>
        </p:nvSpPr>
        <p:spPr>
          <a:xfrm>
            <a:off x="535215" y="4886553"/>
            <a:ext cx="805795" cy="805795"/>
          </a:xfrm>
          <a:prstGeom prst="rect">
            <a:avLst/>
          </a:prstGeom>
          <a:solidFill>
            <a:srgbClr val="FE87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812CB2-D75A-A1B0-4E62-B70C111B78EF}"/>
              </a:ext>
            </a:extLst>
          </p:cNvPr>
          <p:cNvSpPr/>
          <p:nvPr/>
        </p:nvSpPr>
        <p:spPr>
          <a:xfrm>
            <a:off x="1707957" y="4886553"/>
            <a:ext cx="3872108" cy="8057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altLang="ko-KR" sz="2000" dirty="0">
                <a:latin typeface="Segoe UI" panose="020B0502040204020203" pitchFamily="34" charset="0"/>
                <a:cs typeface="Segoe UI" panose="020B0502040204020203" pitchFamily="34" charset="0"/>
              </a:rPr>
              <a:t>Website URL: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A5B7F42-1D66-1B1A-ECED-817B8D92F8F9}"/>
              </a:ext>
            </a:extLst>
          </p:cNvPr>
          <p:cNvCxnSpPr/>
          <p:nvPr/>
        </p:nvCxnSpPr>
        <p:spPr>
          <a:xfrm>
            <a:off x="528638" y="2834552"/>
            <a:ext cx="495776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BF40B9A-4F54-DA7F-1E3A-05F19C6AA19A}"/>
              </a:ext>
            </a:extLst>
          </p:cNvPr>
          <p:cNvCxnSpPr/>
          <p:nvPr/>
        </p:nvCxnSpPr>
        <p:spPr>
          <a:xfrm>
            <a:off x="528638" y="4471151"/>
            <a:ext cx="495776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AADAFDB-1259-2278-E66A-A1FC546DDD7B}"/>
              </a:ext>
            </a:extLst>
          </p:cNvPr>
          <p:cNvGrpSpPr/>
          <p:nvPr/>
        </p:nvGrpSpPr>
        <p:grpSpPr>
          <a:xfrm>
            <a:off x="747771" y="3462509"/>
            <a:ext cx="380683" cy="380684"/>
            <a:chOff x="2678113" y="4338638"/>
            <a:chExt cx="346075" cy="346076"/>
          </a:xfrm>
        </p:grpSpPr>
        <p:sp>
          <p:nvSpPr>
            <p:cNvPr id="30" name="Freeform 253">
              <a:extLst>
                <a:ext uri="{FF2B5EF4-FFF2-40B4-BE49-F238E27FC236}">
                  <a16:creationId xmlns:a16="http://schemas.microsoft.com/office/drawing/2014/main" id="{51C2FB24-9FFF-D6AB-A38E-E67909C40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113" y="4464051"/>
              <a:ext cx="346075" cy="220663"/>
            </a:xfrm>
            <a:custGeom>
              <a:avLst/>
              <a:gdLst>
                <a:gd name="T0" fmla="*/ 76 w 92"/>
                <a:gd name="T1" fmla="*/ 0 h 59"/>
                <a:gd name="T2" fmla="*/ 92 w 92"/>
                <a:gd name="T3" fmla="*/ 11 h 59"/>
                <a:gd name="T4" fmla="*/ 92 w 92"/>
                <a:gd name="T5" fmla="*/ 53 h 59"/>
                <a:gd name="T6" fmla="*/ 86 w 92"/>
                <a:gd name="T7" fmla="*/ 59 h 59"/>
                <a:gd name="T8" fmla="*/ 6 w 92"/>
                <a:gd name="T9" fmla="*/ 59 h 59"/>
                <a:gd name="T10" fmla="*/ 0 w 92"/>
                <a:gd name="T11" fmla="*/ 53 h 59"/>
                <a:gd name="T12" fmla="*/ 0 w 92"/>
                <a:gd name="T13" fmla="*/ 11 h 59"/>
                <a:gd name="T14" fmla="*/ 16 w 92"/>
                <a:gd name="T1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59">
                  <a:moveTo>
                    <a:pt x="76" y="0"/>
                  </a:moveTo>
                  <a:cubicBezTo>
                    <a:pt x="92" y="11"/>
                    <a:pt x="92" y="11"/>
                    <a:pt x="92" y="11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6"/>
                    <a:pt x="89" y="59"/>
                    <a:pt x="8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3" y="59"/>
                    <a:pt x="0" y="56"/>
                    <a:pt x="0" y="5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54">
              <a:extLst>
                <a:ext uri="{FF2B5EF4-FFF2-40B4-BE49-F238E27FC236}">
                  <a16:creationId xmlns:a16="http://schemas.microsoft.com/office/drawing/2014/main" id="{E27767FD-90C9-ADCC-8D97-E906A7E1A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4579938"/>
              <a:ext cx="255588" cy="60325"/>
            </a:xfrm>
            <a:custGeom>
              <a:avLst/>
              <a:gdLst>
                <a:gd name="T0" fmla="*/ 0 w 161"/>
                <a:gd name="T1" fmla="*/ 38 h 38"/>
                <a:gd name="T2" fmla="*/ 48 w 161"/>
                <a:gd name="T3" fmla="*/ 0 h 38"/>
                <a:gd name="T4" fmla="*/ 114 w 161"/>
                <a:gd name="T5" fmla="*/ 0 h 38"/>
                <a:gd name="T6" fmla="*/ 161 w 161"/>
                <a:gd name="T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38">
                  <a:moveTo>
                    <a:pt x="0" y="38"/>
                  </a:moveTo>
                  <a:lnTo>
                    <a:pt x="48" y="0"/>
                  </a:lnTo>
                  <a:lnTo>
                    <a:pt x="114" y="0"/>
                  </a:lnTo>
                  <a:lnTo>
                    <a:pt x="161" y="38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Line 255">
              <a:extLst>
                <a:ext uri="{FF2B5EF4-FFF2-40B4-BE49-F238E27FC236}">
                  <a16:creationId xmlns:a16="http://schemas.microsoft.com/office/drawing/2014/main" id="{73886346-2522-51F2-ABD9-4D4591E375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33700" y="4505326"/>
              <a:ext cx="90488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Line 256">
              <a:extLst>
                <a:ext uri="{FF2B5EF4-FFF2-40B4-BE49-F238E27FC236}">
                  <a16:creationId xmlns:a16="http://schemas.microsoft.com/office/drawing/2014/main" id="{3A05AEC8-1A59-97E4-AD08-7FA7A833C8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8113" y="4505326"/>
              <a:ext cx="90488" cy="60325"/>
            </a:xfrm>
            <a:prstGeom prst="lin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257">
              <a:extLst>
                <a:ext uri="{FF2B5EF4-FFF2-40B4-BE49-F238E27FC236}">
                  <a16:creationId xmlns:a16="http://schemas.microsoft.com/office/drawing/2014/main" id="{D6922EEB-E4D8-4DD0-4025-148DDDE9B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438" y="4338638"/>
              <a:ext cx="225425" cy="207963"/>
            </a:xfrm>
            <a:custGeom>
              <a:avLst/>
              <a:gdLst>
                <a:gd name="T0" fmla="*/ 142 w 142"/>
                <a:gd name="T1" fmla="*/ 131 h 131"/>
                <a:gd name="T2" fmla="*/ 142 w 142"/>
                <a:gd name="T3" fmla="*/ 0 h 131"/>
                <a:gd name="T4" fmla="*/ 0 w 142"/>
                <a:gd name="T5" fmla="*/ 0 h 131"/>
                <a:gd name="T6" fmla="*/ 0 w 142"/>
                <a:gd name="T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31">
                  <a:moveTo>
                    <a:pt x="142" y="131"/>
                  </a:moveTo>
                  <a:lnTo>
                    <a:pt x="142" y="0"/>
                  </a:lnTo>
                  <a:lnTo>
                    <a:pt x="0" y="0"/>
                  </a:lnTo>
                  <a:lnTo>
                    <a:pt x="0" y="131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Oval 258">
              <a:extLst>
                <a:ext uri="{FF2B5EF4-FFF2-40B4-BE49-F238E27FC236}">
                  <a16:creationId xmlns:a16="http://schemas.microsoft.com/office/drawing/2014/main" id="{DFAAE313-8514-6167-4680-F1A1AF4BA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4163" y="4425951"/>
              <a:ext cx="52388" cy="52388"/>
            </a:xfrm>
            <a:prstGeom prst="ellipse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259">
              <a:extLst>
                <a:ext uri="{FF2B5EF4-FFF2-40B4-BE49-F238E27FC236}">
                  <a16:creationId xmlns:a16="http://schemas.microsoft.com/office/drawing/2014/main" id="{65B5B63D-747E-A0F7-8A3E-B4A76E3AC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4384676"/>
              <a:ext cx="134938" cy="134938"/>
            </a:xfrm>
            <a:custGeom>
              <a:avLst/>
              <a:gdLst>
                <a:gd name="T0" fmla="*/ 28 w 36"/>
                <a:gd name="T1" fmla="*/ 33 h 36"/>
                <a:gd name="T2" fmla="*/ 18 w 36"/>
                <a:gd name="T3" fmla="*/ 36 h 36"/>
                <a:gd name="T4" fmla="*/ 0 w 36"/>
                <a:gd name="T5" fmla="*/ 18 h 36"/>
                <a:gd name="T6" fmla="*/ 18 w 36"/>
                <a:gd name="T7" fmla="*/ 0 h 36"/>
                <a:gd name="T8" fmla="*/ 36 w 36"/>
                <a:gd name="T9" fmla="*/ 18 h 36"/>
                <a:gd name="T10" fmla="*/ 36 w 36"/>
                <a:gd name="T11" fmla="*/ 20 h 36"/>
                <a:gd name="T12" fmla="*/ 31 w 36"/>
                <a:gd name="T13" fmla="*/ 25 h 36"/>
                <a:gd name="T14" fmla="*/ 25 w 36"/>
                <a:gd name="T15" fmla="*/ 20 h 36"/>
                <a:gd name="T16" fmla="*/ 25 w 36"/>
                <a:gd name="T17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28" y="33"/>
                  </a:moveTo>
                  <a:cubicBezTo>
                    <a:pt x="25" y="35"/>
                    <a:pt x="22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3"/>
                    <a:pt x="34" y="25"/>
                    <a:pt x="31" y="25"/>
                  </a:cubicBezTo>
                  <a:cubicBezTo>
                    <a:pt x="27" y="25"/>
                    <a:pt x="25" y="23"/>
                    <a:pt x="25" y="20"/>
                  </a:cubicBezTo>
                  <a:cubicBezTo>
                    <a:pt x="25" y="18"/>
                    <a:pt x="25" y="18"/>
                    <a:pt x="25" y="1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CF16710-C0F1-9BA3-8B1B-8B82A34E5EC0}"/>
              </a:ext>
            </a:extLst>
          </p:cNvPr>
          <p:cNvGrpSpPr/>
          <p:nvPr/>
        </p:nvGrpSpPr>
        <p:grpSpPr>
          <a:xfrm>
            <a:off x="728737" y="1806878"/>
            <a:ext cx="418751" cy="418751"/>
            <a:chOff x="3398838" y="2894013"/>
            <a:chExt cx="346075" cy="346075"/>
          </a:xfrm>
        </p:grpSpPr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E8B69A46-0321-1763-F882-43A12FE1B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338" y="2959101"/>
              <a:ext cx="219075" cy="217488"/>
            </a:xfrm>
            <a:custGeom>
              <a:avLst/>
              <a:gdLst>
                <a:gd name="T0" fmla="*/ 22 w 58"/>
                <a:gd name="T1" fmla="*/ 17 h 58"/>
                <a:gd name="T2" fmla="*/ 22 w 58"/>
                <a:gd name="T3" fmla="*/ 8 h 58"/>
                <a:gd name="T4" fmla="*/ 16 w 58"/>
                <a:gd name="T5" fmla="*/ 2 h 58"/>
                <a:gd name="T6" fmla="*/ 7 w 58"/>
                <a:gd name="T7" fmla="*/ 3 h 58"/>
                <a:gd name="T8" fmla="*/ 4 w 58"/>
                <a:gd name="T9" fmla="*/ 6 h 58"/>
                <a:gd name="T10" fmla="*/ 2 w 58"/>
                <a:gd name="T11" fmla="*/ 18 h 58"/>
                <a:gd name="T12" fmla="*/ 40 w 58"/>
                <a:gd name="T13" fmla="*/ 56 h 58"/>
                <a:gd name="T14" fmla="*/ 52 w 58"/>
                <a:gd name="T15" fmla="*/ 54 h 58"/>
                <a:gd name="T16" fmla="*/ 55 w 58"/>
                <a:gd name="T17" fmla="*/ 51 h 58"/>
                <a:gd name="T18" fmla="*/ 56 w 58"/>
                <a:gd name="T19" fmla="*/ 42 h 58"/>
                <a:gd name="T20" fmla="*/ 50 w 58"/>
                <a:gd name="T21" fmla="*/ 36 h 58"/>
                <a:gd name="T22" fmla="*/ 41 w 58"/>
                <a:gd name="T23" fmla="*/ 36 h 58"/>
                <a:gd name="T24" fmla="*/ 39 w 58"/>
                <a:gd name="T25" fmla="*/ 38 h 58"/>
                <a:gd name="T26" fmla="*/ 20 w 58"/>
                <a:gd name="T27" fmla="*/ 19 h 58"/>
                <a:gd name="T28" fmla="*/ 22 w 58"/>
                <a:gd name="T29" fmla="*/ 1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8">
                  <a:moveTo>
                    <a:pt x="22" y="17"/>
                  </a:moveTo>
                  <a:cubicBezTo>
                    <a:pt x="24" y="15"/>
                    <a:pt x="25" y="11"/>
                    <a:pt x="22" y="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0"/>
                    <a:pt x="10" y="0"/>
                    <a:pt x="7" y="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0" y="10"/>
                    <a:pt x="0" y="15"/>
                    <a:pt x="2" y="18"/>
                  </a:cubicBezTo>
                  <a:cubicBezTo>
                    <a:pt x="11" y="33"/>
                    <a:pt x="25" y="47"/>
                    <a:pt x="40" y="56"/>
                  </a:cubicBezTo>
                  <a:cubicBezTo>
                    <a:pt x="43" y="58"/>
                    <a:pt x="48" y="58"/>
                    <a:pt x="52" y="54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8" y="48"/>
                    <a:pt x="58" y="44"/>
                    <a:pt x="56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7" y="33"/>
                    <a:pt x="43" y="34"/>
                    <a:pt x="41" y="36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2" y="33"/>
                    <a:pt x="25" y="26"/>
                    <a:pt x="20" y="19"/>
                  </a:cubicBezTo>
                  <a:lnTo>
                    <a:pt x="22" y="17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BF3EB97C-C8DC-8D6E-5F53-221465AC8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894013"/>
              <a:ext cx="346075" cy="346075"/>
            </a:xfrm>
            <a:custGeom>
              <a:avLst/>
              <a:gdLst>
                <a:gd name="T0" fmla="*/ 70 w 92"/>
                <a:gd name="T1" fmla="*/ 70 h 92"/>
                <a:gd name="T2" fmla="*/ 46 w 92"/>
                <a:gd name="T3" fmla="*/ 92 h 92"/>
                <a:gd name="T4" fmla="*/ 0 w 92"/>
                <a:gd name="T5" fmla="*/ 46 h 92"/>
                <a:gd name="T6" fmla="*/ 46 w 92"/>
                <a:gd name="T7" fmla="*/ 0 h 92"/>
                <a:gd name="T8" fmla="*/ 92 w 92"/>
                <a:gd name="T9" fmla="*/ 46 h 92"/>
                <a:gd name="T10" fmla="*/ 84 w 92"/>
                <a:gd name="T11" fmla="*/ 7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2">
                  <a:moveTo>
                    <a:pt x="70" y="70"/>
                  </a:moveTo>
                  <a:cubicBezTo>
                    <a:pt x="72" y="72"/>
                    <a:pt x="76" y="92"/>
                    <a:pt x="46" y="92"/>
                  </a:cubicBezTo>
                  <a:cubicBezTo>
                    <a:pt x="21" y="92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1" y="0"/>
                    <a:pt x="92" y="21"/>
                    <a:pt x="92" y="46"/>
                  </a:cubicBezTo>
                  <a:cubicBezTo>
                    <a:pt x="92" y="56"/>
                    <a:pt x="89" y="65"/>
                    <a:pt x="84" y="72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8D3652D-FCD5-C180-FC9C-FD7248A977B5}"/>
              </a:ext>
            </a:extLst>
          </p:cNvPr>
          <p:cNvGrpSpPr/>
          <p:nvPr/>
        </p:nvGrpSpPr>
        <p:grpSpPr>
          <a:xfrm>
            <a:off x="728737" y="5106967"/>
            <a:ext cx="418751" cy="364967"/>
            <a:chOff x="5562600" y="1833563"/>
            <a:chExt cx="346075" cy="301625"/>
          </a:xfrm>
        </p:grpSpPr>
        <p:sp>
          <p:nvSpPr>
            <p:cNvPr id="41" name="Rectangle 221">
              <a:extLst>
                <a:ext uri="{FF2B5EF4-FFF2-40B4-BE49-F238E27FC236}">
                  <a16:creationId xmlns:a16="http://schemas.microsoft.com/office/drawing/2014/main" id="{4C01D228-1637-6FC2-07E3-2CA8260AC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1931988"/>
              <a:ext cx="346075" cy="10477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222">
              <a:extLst>
                <a:ext uri="{FF2B5EF4-FFF2-40B4-BE49-F238E27FC236}">
                  <a16:creationId xmlns:a16="http://schemas.microsoft.com/office/drawing/2014/main" id="{7B212636-95E8-B8BC-1FC2-5BC0E53D6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763" y="1833563"/>
              <a:ext cx="285750" cy="98425"/>
            </a:xfrm>
            <a:custGeom>
              <a:avLst/>
              <a:gdLst>
                <a:gd name="T0" fmla="*/ 0 w 76"/>
                <a:gd name="T1" fmla="*/ 26 h 26"/>
                <a:gd name="T2" fmla="*/ 36 w 76"/>
                <a:gd name="T3" fmla="*/ 0 h 26"/>
                <a:gd name="T4" fmla="*/ 38 w 76"/>
                <a:gd name="T5" fmla="*/ 0 h 26"/>
                <a:gd name="T6" fmla="*/ 76 w 7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6">
                  <a:moveTo>
                    <a:pt x="0" y="26"/>
                  </a:moveTo>
                  <a:cubicBezTo>
                    <a:pt x="5" y="11"/>
                    <a:pt x="20" y="1"/>
                    <a:pt x="36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5" y="0"/>
                    <a:pt x="70" y="11"/>
                    <a:pt x="76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223">
              <a:extLst>
                <a:ext uri="{FF2B5EF4-FFF2-40B4-BE49-F238E27FC236}">
                  <a16:creationId xmlns:a16="http://schemas.microsoft.com/office/drawing/2014/main" id="{3F38B34A-9A79-DF42-74B6-0C8409237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938" y="2036763"/>
              <a:ext cx="277813" cy="98425"/>
            </a:xfrm>
            <a:custGeom>
              <a:avLst/>
              <a:gdLst>
                <a:gd name="T0" fmla="*/ 74 w 74"/>
                <a:gd name="T1" fmla="*/ 0 h 26"/>
                <a:gd name="T2" fmla="*/ 37 w 74"/>
                <a:gd name="T3" fmla="*/ 26 h 26"/>
                <a:gd name="T4" fmla="*/ 0 w 74"/>
                <a:gd name="T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4" h="26">
                  <a:moveTo>
                    <a:pt x="74" y="0"/>
                  </a:moveTo>
                  <a:cubicBezTo>
                    <a:pt x="69" y="15"/>
                    <a:pt x="54" y="26"/>
                    <a:pt x="37" y="26"/>
                  </a:cubicBezTo>
                  <a:cubicBezTo>
                    <a:pt x="20" y="26"/>
                    <a:pt x="6" y="1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224">
              <a:extLst>
                <a:ext uri="{FF2B5EF4-FFF2-40B4-BE49-F238E27FC236}">
                  <a16:creationId xmlns:a16="http://schemas.microsoft.com/office/drawing/2014/main" id="{ADF79D7D-89C1-6B41-A687-7136F033E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2036763"/>
              <a:ext cx="49213" cy="98425"/>
            </a:xfrm>
            <a:custGeom>
              <a:avLst/>
              <a:gdLst>
                <a:gd name="T0" fmla="*/ 0 w 13"/>
                <a:gd name="T1" fmla="*/ 0 h 26"/>
                <a:gd name="T2" fmla="*/ 13 w 13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0" y="0"/>
                  </a:moveTo>
                  <a:cubicBezTo>
                    <a:pt x="2" y="9"/>
                    <a:pt x="7" y="17"/>
                    <a:pt x="13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225">
              <a:extLst>
                <a:ext uri="{FF2B5EF4-FFF2-40B4-BE49-F238E27FC236}">
                  <a16:creationId xmlns:a16="http://schemas.microsoft.com/office/drawing/2014/main" id="{37DAB7AE-3EED-296C-4703-793328CBD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1833563"/>
              <a:ext cx="52388" cy="98425"/>
            </a:xfrm>
            <a:custGeom>
              <a:avLst/>
              <a:gdLst>
                <a:gd name="T0" fmla="*/ 14 w 14"/>
                <a:gd name="T1" fmla="*/ 0 h 26"/>
                <a:gd name="T2" fmla="*/ 0 w 14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6">
                  <a:moveTo>
                    <a:pt x="14" y="0"/>
                  </a:moveTo>
                  <a:cubicBezTo>
                    <a:pt x="7" y="8"/>
                    <a:pt x="2" y="17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226">
              <a:extLst>
                <a:ext uri="{FF2B5EF4-FFF2-40B4-BE49-F238E27FC236}">
                  <a16:creationId xmlns:a16="http://schemas.microsoft.com/office/drawing/2014/main" id="{E7CC6D14-3624-067E-069A-78AD74870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575" y="2036763"/>
              <a:ext cx="47625" cy="98425"/>
            </a:xfrm>
            <a:custGeom>
              <a:avLst/>
              <a:gdLst>
                <a:gd name="T0" fmla="*/ 13 w 13"/>
                <a:gd name="T1" fmla="*/ 0 h 26"/>
                <a:gd name="T2" fmla="*/ 0 w 13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26">
                  <a:moveTo>
                    <a:pt x="13" y="0"/>
                  </a:moveTo>
                  <a:cubicBezTo>
                    <a:pt x="11" y="9"/>
                    <a:pt x="6" y="17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Freeform 227">
              <a:extLst>
                <a:ext uri="{FF2B5EF4-FFF2-40B4-BE49-F238E27FC236}">
                  <a16:creationId xmlns:a16="http://schemas.microsoft.com/office/drawing/2014/main" id="{9252FAE8-6DD6-366B-DB7F-5268FAD56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3575" y="1833563"/>
              <a:ext cx="52388" cy="98425"/>
            </a:xfrm>
            <a:custGeom>
              <a:avLst/>
              <a:gdLst>
                <a:gd name="T0" fmla="*/ 0 w 14"/>
                <a:gd name="T1" fmla="*/ 0 h 26"/>
                <a:gd name="T2" fmla="*/ 14 w 14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6">
                  <a:moveTo>
                    <a:pt x="0" y="0"/>
                  </a:moveTo>
                  <a:cubicBezTo>
                    <a:pt x="7" y="8"/>
                    <a:pt x="12" y="17"/>
                    <a:pt x="14" y="2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Line 228">
              <a:extLst>
                <a:ext uri="{FF2B5EF4-FFF2-40B4-BE49-F238E27FC236}">
                  <a16:creationId xmlns:a16="http://schemas.microsoft.com/office/drawing/2014/main" id="{A3848310-37C2-9AC8-F5DD-F8CBAE1C64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1813" y="2066925"/>
              <a:ext cx="24765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Line 229">
              <a:extLst>
                <a:ext uri="{FF2B5EF4-FFF2-40B4-BE49-F238E27FC236}">
                  <a16:creationId xmlns:a16="http://schemas.microsoft.com/office/drawing/2014/main" id="{2C519486-2DBA-516D-5152-3BB862D46F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1813" y="1901825"/>
              <a:ext cx="247650" cy="0"/>
            </a:xfrm>
            <a:prstGeom prst="line">
              <a:avLst/>
            </a:pr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230">
              <a:extLst>
                <a:ext uri="{FF2B5EF4-FFF2-40B4-BE49-F238E27FC236}">
                  <a16:creationId xmlns:a16="http://schemas.microsoft.com/office/drawing/2014/main" id="{5378842A-74C0-6487-E47B-CAAFA1308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863" y="1954213"/>
              <a:ext cx="36513" cy="60325"/>
            </a:xfrm>
            <a:custGeom>
              <a:avLst/>
              <a:gdLst>
                <a:gd name="T0" fmla="*/ 23 w 23"/>
                <a:gd name="T1" fmla="*/ 0 h 38"/>
                <a:gd name="T2" fmla="*/ 16 w 23"/>
                <a:gd name="T3" fmla="*/ 38 h 38"/>
                <a:gd name="T4" fmla="*/ 12 w 23"/>
                <a:gd name="T5" fmla="*/ 19 h 38"/>
                <a:gd name="T6" fmla="*/ 4 w 23"/>
                <a:gd name="T7" fmla="*/ 38 h 38"/>
                <a:gd name="T8" fmla="*/ 0 w 23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8">
                  <a:moveTo>
                    <a:pt x="23" y="0"/>
                  </a:moveTo>
                  <a:lnTo>
                    <a:pt x="16" y="38"/>
                  </a:lnTo>
                  <a:lnTo>
                    <a:pt x="12" y="19"/>
                  </a:lnTo>
                  <a:lnTo>
                    <a:pt x="4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231">
              <a:extLst>
                <a:ext uri="{FF2B5EF4-FFF2-40B4-BE49-F238E27FC236}">
                  <a16:creationId xmlns:a16="http://schemas.microsoft.com/office/drawing/2014/main" id="{80FA602E-8FE1-120A-227B-5D1CEAEFE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1954213"/>
              <a:ext cx="38100" cy="60325"/>
            </a:xfrm>
            <a:custGeom>
              <a:avLst/>
              <a:gdLst>
                <a:gd name="T0" fmla="*/ 24 w 24"/>
                <a:gd name="T1" fmla="*/ 0 h 38"/>
                <a:gd name="T2" fmla="*/ 19 w 24"/>
                <a:gd name="T3" fmla="*/ 38 h 38"/>
                <a:gd name="T4" fmla="*/ 12 w 24"/>
                <a:gd name="T5" fmla="*/ 19 h 38"/>
                <a:gd name="T6" fmla="*/ 5 w 24"/>
                <a:gd name="T7" fmla="*/ 38 h 38"/>
                <a:gd name="T8" fmla="*/ 0 w 2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19" y="38"/>
                  </a:lnTo>
                  <a:lnTo>
                    <a:pt x="12" y="19"/>
                  </a:lnTo>
                  <a:lnTo>
                    <a:pt x="5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232">
              <a:extLst>
                <a:ext uri="{FF2B5EF4-FFF2-40B4-BE49-F238E27FC236}">
                  <a16:creationId xmlns:a16="http://schemas.microsoft.com/office/drawing/2014/main" id="{9A19A354-3D47-8F84-AC21-8A1E65F2B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0250" y="1954213"/>
              <a:ext cx="38100" cy="60325"/>
            </a:xfrm>
            <a:custGeom>
              <a:avLst/>
              <a:gdLst>
                <a:gd name="T0" fmla="*/ 24 w 24"/>
                <a:gd name="T1" fmla="*/ 0 h 38"/>
                <a:gd name="T2" fmla="*/ 19 w 24"/>
                <a:gd name="T3" fmla="*/ 38 h 38"/>
                <a:gd name="T4" fmla="*/ 12 w 24"/>
                <a:gd name="T5" fmla="*/ 19 h 38"/>
                <a:gd name="T6" fmla="*/ 7 w 24"/>
                <a:gd name="T7" fmla="*/ 38 h 38"/>
                <a:gd name="T8" fmla="*/ 0 w 2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8">
                  <a:moveTo>
                    <a:pt x="24" y="0"/>
                  </a:moveTo>
                  <a:lnTo>
                    <a:pt x="19" y="38"/>
                  </a:lnTo>
                  <a:lnTo>
                    <a:pt x="12" y="19"/>
                  </a:lnTo>
                  <a:lnTo>
                    <a:pt x="7" y="3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60F8713A-A305-4C87-A947-9EB3863361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81549" y="6309978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42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70D7D8-2B11-4986-828C-A3BD2E9DCA0D}"/>
              </a:ext>
            </a:extLst>
          </p:cNvPr>
          <p:cNvSpPr/>
          <p:nvPr/>
        </p:nvSpPr>
        <p:spPr>
          <a:xfrm>
            <a:off x="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F8E707-5FA8-4A7A-8CC0-7E1D611210A1}"/>
              </a:ext>
            </a:extLst>
          </p:cNvPr>
          <p:cNvSpPr/>
          <p:nvPr/>
        </p:nvSpPr>
        <p:spPr>
          <a:xfrm>
            <a:off x="511743" y="3685471"/>
            <a:ext cx="3967893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altLang="ko-KR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01 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About Your Company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468DC3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4FC33E-FD58-44EB-A991-071824FBDB8F}"/>
              </a:ext>
            </a:extLst>
          </p:cNvPr>
          <p:cNvSpPr txBox="1"/>
          <p:nvPr/>
        </p:nvSpPr>
        <p:spPr>
          <a:xfrm>
            <a:off x="5888182" y="2261774"/>
            <a:ext cx="584923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dirty="0">
                <a:solidFill>
                  <a:srgbClr val="FF0000"/>
                </a:solidFill>
              </a:rPr>
              <a:t>Please introduce your company briefly </a:t>
            </a:r>
          </a:p>
          <a:p>
            <a:r>
              <a:rPr lang="en-US" altLang="ko-KR" sz="2800" dirty="0">
                <a:solidFill>
                  <a:srgbClr val="FF0000"/>
                </a:solidFill>
              </a:rPr>
              <a:t>(Maximum Length: 3 pages).</a:t>
            </a:r>
            <a:endParaRPr lang="ko-KR" altLang="en-US" sz="2800" dirty="0">
              <a:solidFill>
                <a:srgbClr val="FF0000"/>
              </a:solidFill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2B82D147-DE11-4D24-BF0F-3E4959FE7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3495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직사각형 1">
            <a:extLst>
              <a:ext uri="{FF2B5EF4-FFF2-40B4-BE49-F238E27FC236}">
                <a16:creationId xmlns:a16="http://schemas.microsoft.com/office/drawing/2014/main" id="{2BA4EC1E-0A81-4D9E-8EDA-3081F432C545}"/>
              </a:ext>
            </a:extLst>
          </p:cNvPr>
          <p:cNvSpPr/>
          <p:nvPr/>
        </p:nvSpPr>
        <p:spPr>
          <a:xfrm>
            <a:off x="544946" y="600365"/>
            <a:ext cx="757382" cy="4248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age1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A49A3D32-6215-4219-91D3-C7C81ABDC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2072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직사각형 5">
            <a:extLst>
              <a:ext uri="{FF2B5EF4-FFF2-40B4-BE49-F238E27FC236}">
                <a16:creationId xmlns:a16="http://schemas.microsoft.com/office/drawing/2014/main" id="{C6D04626-C88C-46D4-B33F-C9E729A49708}"/>
              </a:ext>
            </a:extLst>
          </p:cNvPr>
          <p:cNvSpPr/>
          <p:nvPr/>
        </p:nvSpPr>
        <p:spPr>
          <a:xfrm>
            <a:off x="544946" y="600365"/>
            <a:ext cx="757382" cy="4248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age2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78893AB9-6EF6-45B9-98C8-FB7D4FCE2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276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83071549-476C-4AC8-AF1B-92D78A6B097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884C86F-09AC-43F3-99B9-CE0BE4E56E5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67C8EC14-81AE-4EF2-8920-3E2150FD5B94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직사각형 5">
            <a:extLst>
              <a:ext uri="{FF2B5EF4-FFF2-40B4-BE49-F238E27FC236}">
                <a16:creationId xmlns:a16="http://schemas.microsoft.com/office/drawing/2014/main" id="{08C6648F-71F5-4A40-B0BC-1FC6CA0FE7E1}"/>
              </a:ext>
            </a:extLst>
          </p:cNvPr>
          <p:cNvSpPr/>
          <p:nvPr/>
        </p:nvSpPr>
        <p:spPr>
          <a:xfrm>
            <a:off x="544946" y="600365"/>
            <a:ext cx="757382" cy="4248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age3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A9BBD7FA-54E3-4516-9B63-709BD34E2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2348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D70D7D8-2B11-4986-828C-A3BD2E9DCA0D}"/>
              </a:ext>
            </a:extLst>
          </p:cNvPr>
          <p:cNvSpPr/>
          <p:nvPr/>
        </p:nvSpPr>
        <p:spPr>
          <a:xfrm>
            <a:off x="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26">
            <a:extLst>
              <a:ext uri="{FF2B5EF4-FFF2-40B4-BE49-F238E27FC236}">
                <a16:creationId xmlns:a16="http://schemas.microsoft.com/office/drawing/2014/main" id="{AB45D406-DBAB-4AE4-8F22-21D3D83C0C67}"/>
              </a:ext>
            </a:extLst>
          </p:cNvPr>
          <p:cNvSpPr/>
          <p:nvPr/>
        </p:nvSpPr>
        <p:spPr>
          <a:xfrm>
            <a:off x="539434" y="3130474"/>
            <a:ext cx="4900784" cy="2131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defRPr/>
            </a:pPr>
            <a:r>
              <a:rPr kumimoji="0" lang="en-US" altLang="ko-KR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02 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tion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of your </a:t>
            </a:r>
            <a:r>
              <a:rPr lang="en-US" altLang="ko-KR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duct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468DC3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F97D8806-A067-439C-8575-ACE69C74AEE7}"/>
              </a:ext>
            </a:extLst>
          </p:cNvPr>
          <p:cNvSpPr/>
          <p:nvPr/>
        </p:nvSpPr>
        <p:spPr>
          <a:xfrm>
            <a:off x="6682511" y="2348789"/>
            <a:ext cx="4327234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US" sz="3200" b="1" dirty="0">
                <a:solidFill>
                  <a:srgbClr val="FF0000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lease insert  photos of  your product in up to 3 slides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2" name="슬라이드 번호 개체 틀 1">
            <a:extLst>
              <a:ext uri="{FF2B5EF4-FFF2-40B4-BE49-F238E27FC236}">
                <a16:creationId xmlns:a16="http://schemas.microsoft.com/office/drawing/2014/main" id="{EC25BFC0-2C39-47B5-9326-E92E1A758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5827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9E36893-3E16-4A9B-996E-4C94846C76E4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7E9A1A0-5A6D-49AA-9D75-DC5697DEA0A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36B154D-2B39-4A12-B3DD-188228DF28FE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직사각형 6">
            <a:extLst>
              <a:ext uri="{FF2B5EF4-FFF2-40B4-BE49-F238E27FC236}">
                <a16:creationId xmlns:a16="http://schemas.microsoft.com/office/drawing/2014/main" id="{3B1D02DF-D4DC-47CB-85AC-C64F34FFEDC9}"/>
              </a:ext>
            </a:extLst>
          </p:cNvPr>
          <p:cNvSpPr/>
          <p:nvPr/>
        </p:nvSpPr>
        <p:spPr>
          <a:xfrm>
            <a:off x="1853046" y="568039"/>
            <a:ext cx="979054" cy="4248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hoto 1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" name="직사각형 7">
            <a:extLst>
              <a:ext uri="{FF2B5EF4-FFF2-40B4-BE49-F238E27FC236}">
                <a16:creationId xmlns:a16="http://schemas.microsoft.com/office/drawing/2014/main" id="{BDFE3A2A-B151-4CA9-9EF6-79722DF09177}"/>
              </a:ext>
            </a:extLst>
          </p:cNvPr>
          <p:cNvSpPr/>
          <p:nvPr/>
        </p:nvSpPr>
        <p:spPr>
          <a:xfrm>
            <a:off x="8224983" y="568039"/>
            <a:ext cx="979054" cy="4248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>
                <a:solidFill>
                  <a:schemeClr val="tx1"/>
                </a:solidFill>
              </a:rPr>
              <a:t>Photo 2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37120B-3973-4A85-8C91-5813AC902F0F}"/>
              </a:ext>
            </a:extLst>
          </p:cNvPr>
          <p:cNvSpPr txBox="1"/>
          <p:nvPr/>
        </p:nvSpPr>
        <p:spPr>
          <a:xfrm>
            <a:off x="3546763" y="3087441"/>
            <a:ext cx="5015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i="1" dirty="0">
                <a:solidFill>
                  <a:srgbClr val="FF0000"/>
                </a:solidFill>
              </a:rPr>
              <a:t>You may insert your photos in up to 2 more slides</a:t>
            </a:r>
            <a:r>
              <a:rPr lang="en-US" altLang="ko-KR" i="1" dirty="0"/>
              <a:t>.</a:t>
            </a:r>
            <a:endParaRPr lang="ko-KR" altLang="en-US" i="1" dirty="0"/>
          </a:p>
        </p:txBody>
      </p:sp>
      <p:cxnSp>
        <p:nvCxnSpPr>
          <p:cNvPr id="9" name="직선 연결선 8">
            <a:extLst>
              <a:ext uri="{FF2B5EF4-FFF2-40B4-BE49-F238E27FC236}">
                <a16:creationId xmlns:a16="http://schemas.microsoft.com/office/drawing/2014/main" id="{85FF8842-68B6-4F37-941D-01496461B90C}"/>
              </a:ext>
            </a:extLst>
          </p:cNvPr>
          <p:cNvCxnSpPr/>
          <p:nvPr/>
        </p:nvCxnSpPr>
        <p:spPr>
          <a:xfrm>
            <a:off x="5664199" y="697347"/>
            <a:ext cx="0" cy="5518852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슬라이드 번호 개체 틀 2">
            <a:extLst>
              <a:ext uri="{FF2B5EF4-FFF2-40B4-BE49-F238E27FC236}">
                <a16:creationId xmlns:a16="http://schemas.microsoft.com/office/drawing/2014/main" id="{7BA75F63-911D-43A6-B855-925653CC1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50640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: Single Corner Rounded 74">
            <a:extLst>
              <a:ext uri="{FF2B5EF4-FFF2-40B4-BE49-F238E27FC236}">
                <a16:creationId xmlns:a16="http://schemas.microsoft.com/office/drawing/2014/main" id="{F07CB9CF-EA7F-B222-B533-324A74B822DA}"/>
              </a:ext>
            </a:extLst>
          </p:cNvPr>
          <p:cNvSpPr/>
          <p:nvPr/>
        </p:nvSpPr>
        <p:spPr>
          <a:xfrm flipH="1" flipV="1">
            <a:off x="5669280" y="0"/>
            <a:ext cx="6522720" cy="6858000"/>
          </a:xfrm>
          <a:prstGeom prst="round1Rect">
            <a:avLst>
              <a:gd name="adj" fmla="val 83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B70527-DCD9-DDDA-6D62-A68146E57C61}"/>
              </a:ext>
            </a:extLst>
          </p:cNvPr>
          <p:cNvSpPr/>
          <p:nvPr/>
        </p:nvSpPr>
        <p:spPr>
          <a:xfrm>
            <a:off x="5290205" y="1697197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2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130AB9A-9571-6B19-EBE5-DF6C333F8C91}"/>
              </a:ext>
            </a:extLst>
          </p:cNvPr>
          <p:cNvSpPr/>
          <p:nvPr/>
        </p:nvSpPr>
        <p:spPr>
          <a:xfrm>
            <a:off x="6385560" y="1034622"/>
            <a:ext cx="5514340" cy="34500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/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cribe three major</a:t>
            </a:r>
            <a:r>
              <a:rPr lang="en-US" b="1" dirty="0">
                <a:solidFill>
                  <a:srgbClr val="FE1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eatures</a:t>
            </a:r>
            <a:r>
              <a:rPr lang="en-US" altLang="ko-KR" b="1" dirty="0">
                <a:solidFill>
                  <a:srgbClr val="FE100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ko-KR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your product</a:t>
            </a:r>
            <a:r>
              <a:rPr lang="en-US" b="1" dirty="0">
                <a:solidFill>
                  <a:srgbClr val="3663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3C8EC-4400-F7CE-FACE-93A3E1AB6553}"/>
              </a:ext>
            </a:extLst>
          </p:cNvPr>
          <p:cNvSpPr/>
          <p:nvPr/>
        </p:nvSpPr>
        <p:spPr>
          <a:xfrm>
            <a:off x="5331392" y="3528693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24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9799A48-C882-30B3-2C6D-8463CD4CC6FE}"/>
              </a:ext>
            </a:extLst>
          </p:cNvPr>
          <p:cNvSpPr/>
          <p:nvPr/>
        </p:nvSpPr>
        <p:spPr>
          <a:xfrm>
            <a:off x="5266382" y="5166226"/>
            <a:ext cx="805795" cy="805795"/>
          </a:xfrm>
          <a:prstGeom prst="rect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sz="2400" b="1" dirty="0">
                <a:solidFill>
                  <a:schemeClr val="tx1"/>
                </a:solidFill>
              </a:rPr>
              <a:t>3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0A0CDB9-B34D-9D0C-6A9A-2153FDC83846}"/>
              </a:ext>
            </a:extLst>
          </p:cNvPr>
          <p:cNvGrpSpPr/>
          <p:nvPr/>
        </p:nvGrpSpPr>
        <p:grpSpPr>
          <a:xfrm>
            <a:off x="6362516" y="2623205"/>
            <a:ext cx="5313547" cy="1810976"/>
            <a:chOff x="5290205" y="2523512"/>
            <a:chExt cx="6385858" cy="1810976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41513BE-D720-A22E-D257-0BAB409CB2AC}"/>
                </a:ext>
              </a:extLst>
            </p:cNvPr>
            <p:cNvCxnSpPr>
              <a:cxnSpLocks/>
            </p:cNvCxnSpPr>
            <p:nvPr/>
          </p:nvCxnSpPr>
          <p:spPr>
            <a:xfrm>
              <a:off x="5290205" y="2523512"/>
              <a:ext cx="638585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47E0B4D-86DC-FC53-7696-EDBBFAD2CFFF}"/>
                </a:ext>
              </a:extLst>
            </p:cNvPr>
            <p:cNvCxnSpPr>
              <a:cxnSpLocks/>
            </p:cNvCxnSpPr>
            <p:nvPr/>
          </p:nvCxnSpPr>
          <p:spPr>
            <a:xfrm>
              <a:off x="5290205" y="4334488"/>
              <a:ext cx="638585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Rectangle 26">
            <a:extLst>
              <a:ext uri="{FF2B5EF4-FFF2-40B4-BE49-F238E27FC236}">
                <a16:creationId xmlns:a16="http://schemas.microsoft.com/office/drawing/2014/main" id="{DD956559-67D4-40C9-9ACB-EEC13DDC6732}"/>
              </a:ext>
            </a:extLst>
          </p:cNvPr>
          <p:cNvSpPr/>
          <p:nvPr/>
        </p:nvSpPr>
        <p:spPr>
          <a:xfrm>
            <a:off x="347221" y="3429000"/>
            <a:ext cx="4782722" cy="2131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>
              <a:defRPr/>
            </a:pPr>
            <a:r>
              <a:rPr kumimoji="0" lang="en-US" altLang="ko-KR" sz="4800" b="1" i="0" u="none" strike="noStrike" kern="1200" cap="none" spc="0" normalizeH="0" baseline="0" noProof="0" dirty="0">
                <a:ln>
                  <a:noFill/>
                </a:ln>
                <a:solidFill>
                  <a:srgbClr val="468DC3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02 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Introduction</a:t>
            </a:r>
          </a:p>
          <a:p>
            <a:pPr lvl="0"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of your </a:t>
            </a:r>
            <a:r>
              <a:rPr lang="en-US" altLang="ko-KR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duct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468DC3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7FAC8DF1-B30A-470F-8D61-D687DF043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99327" y="6404941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020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: Top Corners Rounded 1035">
            <a:extLst>
              <a:ext uri="{FF2B5EF4-FFF2-40B4-BE49-F238E27FC236}">
                <a16:creationId xmlns:a16="http://schemas.microsoft.com/office/drawing/2014/main" id="{AF4124C0-060C-8F89-C6CC-B3FB70FD5D62}"/>
              </a:ext>
            </a:extLst>
          </p:cNvPr>
          <p:cNvSpPr/>
          <p:nvPr/>
        </p:nvSpPr>
        <p:spPr>
          <a:xfrm flipV="1">
            <a:off x="1454658" y="5937814"/>
            <a:ext cx="8033988" cy="381965"/>
          </a:xfrm>
          <a:prstGeom prst="round2SameRect">
            <a:avLst>
              <a:gd name="adj1" fmla="val 43940"/>
              <a:gd name="adj2" fmla="val 0"/>
            </a:avLst>
          </a:prstGeom>
          <a:solidFill>
            <a:srgbClr val="FE1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EF9033DD-6772-160F-BA17-A1424F76E763}"/>
              </a:ext>
            </a:extLst>
          </p:cNvPr>
          <p:cNvSpPr/>
          <p:nvPr/>
        </p:nvSpPr>
        <p:spPr>
          <a:xfrm>
            <a:off x="521110" y="844331"/>
            <a:ext cx="9901084" cy="5329084"/>
          </a:xfrm>
          <a:custGeom>
            <a:avLst/>
            <a:gdLst>
              <a:gd name="connsiteX0" fmla="*/ 0 w 9901084"/>
              <a:gd name="connsiteY0" fmla="*/ 0 h 5329084"/>
              <a:gd name="connsiteX1" fmla="*/ 9438097 w 9901084"/>
              <a:gd name="connsiteY1" fmla="*/ 0 h 5329084"/>
              <a:gd name="connsiteX2" fmla="*/ 9901084 w 9901084"/>
              <a:gd name="connsiteY2" fmla="*/ 462987 h 5329084"/>
              <a:gd name="connsiteX3" fmla="*/ 9901084 w 9901084"/>
              <a:gd name="connsiteY3" fmla="*/ 5329084 h 5329084"/>
              <a:gd name="connsiteX4" fmla="*/ 0 w 9901084"/>
              <a:gd name="connsiteY4" fmla="*/ 5329084 h 5329084"/>
              <a:gd name="connsiteX5" fmla="*/ 0 w 9901084"/>
              <a:gd name="connsiteY5" fmla="*/ 0 h 5329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1084" h="5329084">
                <a:moveTo>
                  <a:pt x="0" y="0"/>
                </a:moveTo>
                <a:lnTo>
                  <a:pt x="9438097" y="0"/>
                </a:lnTo>
                <a:lnTo>
                  <a:pt x="9901084" y="462987"/>
                </a:lnTo>
                <a:lnTo>
                  <a:pt x="9901084" y="5329084"/>
                </a:lnTo>
                <a:lnTo>
                  <a:pt x="0" y="532908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0DF46D-570A-F423-3BCF-192145CBA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110" y="963822"/>
            <a:ext cx="7489072" cy="100950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03 </a:t>
            </a:r>
            <a:br>
              <a:rPr lang="en-US" dirty="0">
                <a:solidFill>
                  <a:srgbClr val="0070C0"/>
                </a:solidFill>
              </a:rPr>
            </a:br>
            <a:r>
              <a:rPr lang="en-US" dirty="0">
                <a:solidFill>
                  <a:srgbClr val="0070C0"/>
                </a:solidFill>
              </a:rPr>
              <a:t>Service access information</a:t>
            </a:r>
            <a:endParaRPr lang="en-US" b="1" dirty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A4F5E0-FC33-2C0A-3652-CF2E97BF7BBD}"/>
              </a:ext>
            </a:extLst>
          </p:cNvPr>
          <p:cNvSpPr txBox="1"/>
          <p:nvPr/>
        </p:nvSpPr>
        <p:spPr>
          <a:xfrm>
            <a:off x="767291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lvl="0" algn="ctr"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pecial things to know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99EDF6-5779-2ACB-5617-784E405AC339}"/>
              </a:ext>
            </a:extLst>
          </p:cNvPr>
          <p:cNvSpPr txBox="1"/>
          <p:nvPr/>
        </p:nvSpPr>
        <p:spPr>
          <a:xfrm>
            <a:off x="4067653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lvl="0" algn="ctr"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ce access inform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99E5D2-0CDA-85C1-E4C6-BD9FB6A897C0}"/>
              </a:ext>
            </a:extLst>
          </p:cNvPr>
          <p:cNvSpPr txBox="1"/>
          <p:nvPr/>
        </p:nvSpPr>
        <p:spPr>
          <a:xfrm>
            <a:off x="7368015" y="2156262"/>
            <a:ext cx="2808000" cy="369332"/>
          </a:xfrm>
          <a:prstGeom prst="rect">
            <a:avLst/>
          </a:prstGeom>
          <a:solidFill>
            <a:srgbClr val="36638D"/>
          </a:solidFill>
        </p:spPr>
        <p:txBody>
          <a:bodyPr wrap="none" rtlCol="0" anchor="ctr">
            <a:noAutofit/>
          </a:bodyPr>
          <a:lstStyle/>
          <a:p>
            <a:pPr lvl="0" algn="ctr">
              <a:defRPr/>
            </a:pPr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to use after connect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2D174F6-56AC-8A69-497E-216D23231963}"/>
              </a:ext>
            </a:extLst>
          </p:cNvPr>
          <p:cNvCxnSpPr>
            <a:cxnSpLocks/>
          </p:cNvCxnSpPr>
          <p:nvPr/>
        </p:nvCxnSpPr>
        <p:spPr>
          <a:xfrm>
            <a:off x="3821472" y="2156262"/>
            <a:ext cx="0" cy="32361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70591C2-E694-3E4B-39D9-32279E2558D0}"/>
              </a:ext>
            </a:extLst>
          </p:cNvPr>
          <p:cNvCxnSpPr>
            <a:cxnSpLocks/>
          </p:cNvCxnSpPr>
          <p:nvPr/>
        </p:nvCxnSpPr>
        <p:spPr>
          <a:xfrm>
            <a:off x="7121834" y="2156262"/>
            <a:ext cx="0" cy="32361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C89B054-FEF0-FCDF-9BEF-8179622AFDC1}"/>
              </a:ext>
            </a:extLst>
          </p:cNvPr>
          <p:cNvSpPr txBox="1"/>
          <p:nvPr/>
        </p:nvSpPr>
        <p:spPr>
          <a:xfrm>
            <a:off x="796413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ease enter your information her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9B960D45-A878-14E4-626B-09037AD823DE}"/>
              </a:ext>
            </a:extLst>
          </p:cNvPr>
          <p:cNvSpPr/>
          <p:nvPr/>
        </p:nvSpPr>
        <p:spPr>
          <a:xfrm>
            <a:off x="9959207" y="844331"/>
            <a:ext cx="462987" cy="462987"/>
          </a:xfrm>
          <a:prstGeom prst="rtTriangle">
            <a:avLst/>
          </a:prstGeom>
          <a:solidFill>
            <a:srgbClr val="ABD1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7" name="Rectangle: Top Corners Rounded 1036">
            <a:extLst>
              <a:ext uri="{FF2B5EF4-FFF2-40B4-BE49-F238E27FC236}">
                <a16:creationId xmlns:a16="http://schemas.microsoft.com/office/drawing/2014/main" id="{DFD2290D-1F15-EB50-0C34-5C7CCCC70271}"/>
              </a:ext>
            </a:extLst>
          </p:cNvPr>
          <p:cNvSpPr/>
          <p:nvPr/>
        </p:nvSpPr>
        <p:spPr>
          <a:xfrm>
            <a:off x="1655639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8" name="Rectangle: Top Corners Rounded 1037">
            <a:extLst>
              <a:ext uri="{FF2B5EF4-FFF2-40B4-BE49-F238E27FC236}">
                <a16:creationId xmlns:a16="http://schemas.microsoft.com/office/drawing/2014/main" id="{759E67BB-DEC7-7619-917F-8A6EED0AE88C}"/>
              </a:ext>
            </a:extLst>
          </p:cNvPr>
          <p:cNvSpPr/>
          <p:nvPr/>
        </p:nvSpPr>
        <p:spPr>
          <a:xfrm>
            <a:off x="4956001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9" name="Rectangle: Top Corners Rounded 1038">
            <a:extLst>
              <a:ext uri="{FF2B5EF4-FFF2-40B4-BE49-F238E27FC236}">
                <a16:creationId xmlns:a16="http://schemas.microsoft.com/office/drawing/2014/main" id="{B7DBC684-61BF-3301-11F6-E09B35B67391}"/>
              </a:ext>
            </a:extLst>
          </p:cNvPr>
          <p:cNvSpPr/>
          <p:nvPr/>
        </p:nvSpPr>
        <p:spPr>
          <a:xfrm>
            <a:off x="8256363" y="5451676"/>
            <a:ext cx="1031304" cy="72173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3AA34E8-3585-4C87-9087-F2911CCBBD21}"/>
              </a:ext>
            </a:extLst>
          </p:cNvPr>
          <p:cNvSpPr txBox="1"/>
          <p:nvPr/>
        </p:nvSpPr>
        <p:spPr>
          <a:xfrm>
            <a:off x="4065135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ease enter your information her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DC811E3-137B-466D-8532-B4D3EC5EB10F}"/>
              </a:ext>
            </a:extLst>
          </p:cNvPr>
          <p:cNvSpPr txBox="1"/>
          <p:nvPr/>
        </p:nvSpPr>
        <p:spPr>
          <a:xfrm>
            <a:off x="7365496" y="2708172"/>
            <a:ext cx="2792361" cy="774137"/>
          </a:xfrm>
          <a:prstGeom prst="rect">
            <a:avLst/>
          </a:prstGeom>
          <a:noFill/>
        </p:spPr>
        <p:txBody>
          <a:bodyPr wrap="square" lIns="108000" tIns="0" rIns="108000" bIns="0" rtlCol="0">
            <a:noAutofit/>
          </a:bodyPr>
          <a:lstStyle/>
          <a:p>
            <a:pPr lvl="0">
              <a:defRPr/>
            </a:pPr>
            <a:r>
              <a:rPr lang="en-US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ease enter your information here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" name="그림 1">
            <a:extLst>
              <a:ext uri="{FF2B5EF4-FFF2-40B4-BE49-F238E27FC236}">
                <a16:creationId xmlns:a16="http://schemas.microsoft.com/office/drawing/2014/main" id="{892C72FD-0A82-4067-858A-1E2E82E97D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3839" y="6404940"/>
            <a:ext cx="445047" cy="36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66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5</TotalTime>
  <Words>193</Words>
  <Application>Microsoft Office PowerPoint</Application>
  <PresentationFormat>와이드스크린</PresentationFormat>
  <Paragraphs>75</Paragraphs>
  <Slides>14</Slides>
  <Notes>10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4</vt:i4>
      </vt:variant>
    </vt:vector>
  </HeadingPairs>
  <TitlesOfParts>
    <vt:vector size="24" baseType="lpstr">
      <vt:lpstr>Open Sans</vt:lpstr>
      <vt:lpstr>Malgun Gothic</vt:lpstr>
      <vt:lpstr>Arial</vt:lpstr>
      <vt:lpstr>Calibri</vt:lpstr>
      <vt:lpstr>Georgia</vt:lpstr>
      <vt:lpstr>Segoe UI</vt:lpstr>
      <vt:lpstr>Segoe UI Light</vt:lpstr>
      <vt:lpstr>Office Theme</vt:lpstr>
      <vt:lpstr>2_Office Theme</vt:lpstr>
      <vt:lpstr>think-cell Slide</vt:lpstr>
      <vt:lpstr>Title Pag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03  Service access information</vt:lpstr>
      <vt:lpstr>PowerPoint 프레젠테이션</vt:lpstr>
      <vt:lpstr>PowerPoint 프레젠테이션</vt:lpstr>
      <vt:lpstr>PowerPoint 프레젠테이션</vt:lpstr>
      <vt:lpstr>PowerPoint 프레젠테이션</vt:lpstr>
      <vt:lpstr>Contact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 Insurance Powerpoint Template</dc:title>
  <dc:creator>it 24slides3</dc:creator>
  <cp:lastModifiedBy>PERSONA_AI</cp:lastModifiedBy>
  <cp:revision>43</cp:revision>
  <dcterms:created xsi:type="dcterms:W3CDTF">2022-09-15T02:04:53Z</dcterms:created>
  <dcterms:modified xsi:type="dcterms:W3CDTF">2023-11-16T06:50:29Z</dcterms:modified>
</cp:coreProperties>
</file>